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6242" autoAdjust="0"/>
  </p:normalViewPr>
  <p:slideViewPr>
    <p:cSldViewPr snapToGrid="0">
      <p:cViewPr varScale="1">
        <p:scale>
          <a:sx n="99" d="100"/>
          <a:sy n="99" d="100"/>
        </p:scale>
        <p:origin x="858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8877</Words>
  <Application>Microsoft Office PowerPoint</Application>
  <PresentationFormat>Widescreen</PresentationFormat>
  <Paragraphs>1000</Paragraphs>
  <Slides>3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6" baseType="lpstr">
      <vt:lpstr>Aptos</vt:lpstr>
      <vt:lpstr>Arial</vt:lpstr>
      <vt:lpstr>Segoe Sans</vt:lpstr>
      <vt:lpstr>Segoe Sans Display Semibold</vt:lpstr>
      <vt:lpstr>Segoe UI</vt:lpstr>
      <vt:lpstr>Segoe UI </vt:lpstr>
      <vt:lpstr>Segoe UI Semibold</vt:lpstr>
      <vt:lpstr>Segoe UI Semilight</vt:lpstr>
      <vt:lpstr>Segoe UI Variable Text</vt:lpstr>
      <vt:lpstr>Wingdings</vt:lpstr>
      <vt:lpstr>Light 16x9</vt:lpstr>
      <vt:lpstr>think-cell Slide</vt:lpstr>
      <vt:lpstr>Microsoft Scenario Library</vt:lpstr>
      <vt:lpstr>Top 10 to "Try First"</vt:lpstr>
      <vt:lpstr>AI value journey</vt:lpstr>
      <vt:lpstr>”Effort” level for each scenario  </vt:lpstr>
      <vt:lpstr>AI use cases for Retail</vt:lpstr>
      <vt:lpstr>AI Retail use cases</vt:lpstr>
      <vt:lpstr>AI use cases for Retail</vt:lpstr>
      <vt:lpstr>Deliver personalized shopping experiences</vt:lpstr>
      <vt:lpstr>Improve merchandising and supply chain</vt:lpstr>
      <vt:lpstr>Drive efficiency through AI-assisted store associates</vt:lpstr>
      <vt:lpstr>KPI – Revenue per store</vt:lpstr>
      <vt:lpstr>KPI – Customer satisfaction</vt:lpstr>
      <vt:lpstr>KPI – Sales conversion rate</vt:lpstr>
      <vt:lpstr>KPI – Employee turnover</vt:lpstr>
      <vt:lpstr>KPI – Marketing spend</vt:lpstr>
      <vt:lpstr>KPI – Retail margin</vt:lpstr>
      <vt:lpstr>Identify new product and supplier options</vt:lpstr>
      <vt:lpstr>Creating promotional materials</vt:lpstr>
      <vt:lpstr>Maximize store performance</vt:lpstr>
      <vt:lpstr>Improve merchandising decisions</vt:lpstr>
      <vt:lpstr>Optimize supply chain management</vt:lpstr>
      <vt:lpstr>Fashion design agent</vt:lpstr>
      <vt:lpstr>Implement adaptive pricing</vt:lpstr>
      <vt:lpstr>Streamline market research and strategy</vt:lpstr>
      <vt:lpstr>Track marketing campaign performance</vt:lpstr>
      <vt:lpstr>Craft targeted marketing campaigns</vt:lpstr>
      <vt:lpstr>Reduce sourcing compliance risk</vt:lpstr>
      <vt:lpstr>Improve store associate management</vt:lpstr>
      <vt:lpstr>Improve retail store operations</vt:lpstr>
      <vt:lpstr>Assist store associates</vt:lpstr>
      <vt:lpstr>Assist store managers</vt:lpstr>
      <vt:lpstr>Improve customer service and info discovery</vt:lpstr>
      <vt:lpstr>Create personalized shopping journeys</vt:lpstr>
      <vt:lpstr>A day in the life of a Store Associa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5</cp:revision>
  <dcterms:created xsi:type="dcterms:W3CDTF">2024-09-25T15:39:48Z</dcterms:created>
  <dcterms:modified xsi:type="dcterms:W3CDTF">2025-04-13T20:04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